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2FD04-C810-7612-7070-A6BC23ACD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8531E59-9834-B7DC-7CFD-2E6F5945B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31E59-9834-B7DC-7CFD-2E6F5945B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BE4F45-E301-4F1B-2784-BB0F3DA7A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24F253A-DE82-C264-097F-EF8D2514750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B76BB1-7DDA-91BE-4657-CB509174E6F9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30"/>
          <a:ext cx="10667385" cy="4360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35489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1962454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5250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6</TotalTime>
  <Words>41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01</cp:revision>
  <dcterms:created xsi:type="dcterms:W3CDTF">2021-03-31T02:49:57Z</dcterms:created>
  <dcterms:modified xsi:type="dcterms:W3CDTF">2025-10-15T02:46:33Z</dcterms:modified>
  <cp:category/>
</cp:coreProperties>
</file>